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16"/>
  </p:notesMasterIdLst>
  <p:sldIdLst>
    <p:sldId id="256" r:id="rId2"/>
    <p:sldId id="272" r:id="rId3"/>
    <p:sldId id="258" r:id="rId4"/>
    <p:sldId id="270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Proxima Nova" panose="020B0604020202020204" charset="0"/>
      <p:regular r:id="rId21"/>
      <p:bold r:id="rId22"/>
      <p:italic r:id="rId23"/>
      <p:boldItalic r:id="rId24"/>
    </p:embeddedFont>
    <p:embeddedFont>
      <p:font typeface="Roboto" panose="020B0604020202020204" charset="0"/>
      <p:regular r:id="rId25"/>
      <p:bold r:id="rId26"/>
      <p:italic r:id="rId27"/>
      <p:boldItalic r:id="rId28"/>
    </p:embeddedFont>
    <p:embeddedFont>
      <p:font typeface="Roboto Thin" panose="020B0604020202020204" charset="0"/>
      <p:regular r:id="rId29"/>
      <p:bold r:id="rId30"/>
      <p:italic r:id="rId31"/>
      <p:boldItalic r:id="rId32"/>
    </p:embeddedFont>
  </p:embeddedFontLst>
  <p:custDataLst>
    <p:tags r:id="rId3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2" d="100"/>
          <a:sy n="142" d="100"/>
        </p:scale>
        <p:origin x="714" y="-4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21" Type="http://schemas.openxmlformats.org/officeDocument/2006/relationships/font" Target="fonts/font5.fntdata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font" Target="fonts/font1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32" Type="http://schemas.openxmlformats.org/officeDocument/2006/relationships/font" Target="fonts/font16.fntdata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31" Type="http://schemas.openxmlformats.org/officeDocument/2006/relationships/font" Target="fonts/font1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font" Target="fonts/font14.fntdata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gc6f8bada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Google Shape;57;gc6f8bada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mit</a:t>
            </a: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acc7ebd9c3_2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" name="Google Shape;159;gacc7ebd9c3_2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Mariam: While looking at our interaction variable here we see the isolated effect in gun legislation is 0.08596.</a:t>
            </a: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gacc7ebd9c3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0" name="Google Shape;170;gacc7ebd9c3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man</a:t>
            </a: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gacc7ebd9c3_0_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0" name="Google Shape;180;gacc7ebd9c3_0_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man</a:t>
            </a: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gacc7ebd9c3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1" name="Google Shape;191;gacc7ebd9c3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Brandon, once again here, the r squared value was very low, but can still interpret the coefficients, results are similar to prior model in which we saw a slight increase in victim count due to legislation change. Based off our two models ,   the hypothesis that easier gun access will lead to more victims is supported. </a:t>
            </a: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gacc7ebd9c3_0_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2" name="Google Shape;202;gacc7ebd9c3_0_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mit</a:t>
            </a: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acc7ebd9c3_1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acc7ebd9c3_1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ana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25441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a2154d2c7f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a2154d2c7f_0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mit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acc7ebd9c3_1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acc7ebd9c3_1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ana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005967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ga2154d2c7f_0_4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2" name="Google Shape;112;ga2154d2c7f_0_48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mit</a:t>
            </a: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acc7ebd9c3_1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acc7ebd9c3_1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ana</a:t>
            </a: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gacc7ebd9c3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8" name="Google Shape;128;gacc7ebd9c3_2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ana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a2154d2c7f_0_5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a2154d2c7f_0_5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man</a:t>
            </a: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gc6f8badac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8" name="Google Shape;148;gc6f8badac_0_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man</a:t>
            </a: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oogle Shape;10;p2"/>
          <p:cNvCxnSpPr/>
          <p:nvPr/>
        </p:nvCxnSpPr>
        <p:spPr>
          <a:xfrm>
            <a:off x="0" y="2998150"/>
            <a:ext cx="9144000" cy="0"/>
          </a:xfrm>
          <a:prstGeom prst="straightConnector1">
            <a:avLst/>
          </a:prstGeom>
          <a:noFill/>
          <a:ln w="19050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510450" y="1257300"/>
            <a:ext cx="8123100" cy="1588500"/>
          </a:xfrm>
          <a:prstGeom prst="rect">
            <a:avLst/>
          </a:prstGeom>
          <a:ln w="9525" cap="flat" cmpd="sng">
            <a:solidFill>
              <a:srgbClr val="07376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ubTitle" idx="1"/>
          </p:nvPr>
        </p:nvSpPr>
        <p:spPr>
          <a:xfrm>
            <a:off x="36475" y="3021813"/>
            <a:ext cx="8123100" cy="63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solidFill>
                  <a:schemeClr val="lt1"/>
                </a:solidFill>
              </a:defRPr>
            </a:lvl1pPr>
            <a:lvl2pPr lvl="1" rtl="0">
              <a:buNone/>
              <a:defRPr>
                <a:solidFill>
                  <a:schemeClr val="lt1"/>
                </a:solidFill>
              </a:defRPr>
            </a:lvl2pPr>
            <a:lvl3pPr lvl="2" rtl="0">
              <a:buNone/>
              <a:defRPr>
                <a:solidFill>
                  <a:schemeClr val="lt1"/>
                </a:solidFill>
              </a:defRPr>
            </a:lvl3pPr>
            <a:lvl4pPr lvl="3" rtl="0">
              <a:buNone/>
              <a:defRPr>
                <a:solidFill>
                  <a:schemeClr val="lt1"/>
                </a:solidFill>
              </a:defRPr>
            </a:lvl4pPr>
            <a:lvl5pPr lvl="4" rtl="0">
              <a:buNone/>
              <a:defRPr>
                <a:solidFill>
                  <a:schemeClr val="lt1"/>
                </a:solidFill>
              </a:defRPr>
            </a:lvl5pPr>
            <a:lvl6pPr lvl="5" rtl="0">
              <a:buNone/>
              <a:defRPr>
                <a:solidFill>
                  <a:schemeClr val="lt1"/>
                </a:solidFill>
              </a:defRPr>
            </a:lvl6pPr>
            <a:lvl7pPr lvl="6" rtl="0">
              <a:buNone/>
              <a:defRPr>
                <a:solidFill>
                  <a:schemeClr val="lt1"/>
                </a:solidFill>
              </a:defRPr>
            </a:lvl7pPr>
            <a:lvl8pPr lvl="7" rtl="0">
              <a:buNone/>
              <a:defRPr>
                <a:solidFill>
                  <a:schemeClr val="lt1"/>
                </a:solidFill>
              </a:defRPr>
            </a:lvl8pPr>
            <a:lvl9pPr lvl="8" rtl="0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1"/>
          <p:cNvSpPr/>
          <p:nvPr/>
        </p:nvSpPr>
        <p:spPr>
          <a:xfrm>
            <a:off x="0" y="5045700"/>
            <a:ext cx="9144000" cy="97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" name="Google Shape;50;p11"/>
          <p:cNvSpPr txBox="1">
            <a:spLocks noGrp="1"/>
          </p:cNvSpPr>
          <p:nvPr>
            <p:ph type="title" hasCustomPrompt="1"/>
          </p:nvPr>
        </p:nvSpPr>
        <p:spPr>
          <a:xfrm>
            <a:off x="311700" y="991475"/>
            <a:ext cx="8520600" cy="1917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0"/>
              <a:buNone/>
              <a:defRPr sz="14000" b="1"/>
            </a:lvl9pPr>
          </a:lstStyle>
          <a:p>
            <a:r>
              <a:t>xx%</a:t>
            </a:r>
          </a:p>
        </p:txBody>
      </p:sp>
      <p:sp>
        <p:nvSpPr>
          <p:cNvPr id="51" name="Google Shape;51;p11"/>
          <p:cNvSpPr txBox="1">
            <a:spLocks noGrp="1"/>
          </p:cNvSpPr>
          <p:nvPr>
            <p:ph type="body" idx="1"/>
          </p:nvPr>
        </p:nvSpPr>
        <p:spPr>
          <a:xfrm>
            <a:off x="311700" y="3071300"/>
            <a:ext cx="8520600" cy="901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2" name="Google Shape;52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Google Shape;15;p3"/>
          <p:cNvCxnSpPr/>
          <p:nvPr/>
        </p:nvCxnSpPr>
        <p:spPr>
          <a:xfrm>
            <a:off x="0" y="2998150"/>
            <a:ext cx="9144000" cy="0"/>
          </a:xfrm>
          <a:prstGeom prst="straightConnector1">
            <a:avLst/>
          </a:prstGeom>
          <a:noFill/>
          <a:ln w="19050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6" name="Google Shape;16;p3"/>
          <p:cNvSpPr txBox="1">
            <a:spLocks noGrp="1"/>
          </p:cNvSpPr>
          <p:nvPr>
            <p:ph type="title"/>
          </p:nvPr>
        </p:nvSpPr>
        <p:spPr>
          <a:xfrm>
            <a:off x="510450" y="2057400"/>
            <a:ext cx="8123100" cy="778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7" name="Google Shape;17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solidFill>
                  <a:schemeClr val="lt1"/>
                </a:solidFill>
              </a:defRPr>
            </a:lvl1pPr>
            <a:lvl2pPr lvl="1" rtl="0">
              <a:buNone/>
              <a:defRPr>
                <a:solidFill>
                  <a:schemeClr val="lt1"/>
                </a:solidFill>
              </a:defRPr>
            </a:lvl2pPr>
            <a:lvl3pPr lvl="2" rtl="0">
              <a:buNone/>
              <a:defRPr>
                <a:solidFill>
                  <a:schemeClr val="lt1"/>
                </a:solidFill>
              </a:defRPr>
            </a:lvl3pPr>
            <a:lvl4pPr lvl="3" rtl="0">
              <a:buNone/>
              <a:defRPr>
                <a:solidFill>
                  <a:schemeClr val="lt1"/>
                </a:solidFill>
              </a:defRPr>
            </a:lvl4pPr>
            <a:lvl5pPr lvl="4" rtl="0">
              <a:buNone/>
              <a:defRPr>
                <a:solidFill>
                  <a:schemeClr val="lt1"/>
                </a:solidFill>
              </a:defRPr>
            </a:lvl5pPr>
            <a:lvl6pPr lvl="5" rtl="0">
              <a:buNone/>
              <a:defRPr>
                <a:solidFill>
                  <a:schemeClr val="lt1"/>
                </a:solidFill>
              </a:defRPr>
            </a:lvl6pPr>
            <a:lvl7pPr lvl="6" rtl="0">
              <a:buNone/>
              <a:defRPr>
                <a:solidFill>
                  <a:schemeClr val="lt1"/>
                </a:solidFill>
              </a:defRPr>
            </a:lvl7pPr>
            <a:lvl8pPr lvl="7" rtl="0">
              <a:buNone/>
              <a:defRPr>
                <a:solidFill>
                  <a:schemeClr val="lt1"/>
                </a:solidFill>
              </a:defRPr>
            </a:lvl8pPr>
            <a:lvl9pPr lvl="8" rtl="0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/>
          <p:nvPr/>
        </p:nvSpPr>
        <p:spPr>
          <a:xfrm>
            <a:off x="0" y="5045700"/>
            <a:ext cx="9144000" cy="97800"/>
          </a:xfrm>
          <a:prstGeom prst="rect">
            <a:avLst/>
          </a:prstGeom>
          <a:solidFill>
            <a:srgbClr val="99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3" name="Google Shape;33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4" name="Google Shape;34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8"/>
          <p:cNvSpPr txBox="1">
            <a:spLocks noGrp="1"/>
          </p:cNvSpPr>
          <p:nvPr>
            <p:ph type="title"/>
          </p:nvPr>
        </p:nvSpPr>
        <p:spPr>
          <a:xfrm>
            <a:off x="490250" y="526350"/>
            <a:ext cx="57975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7" name="Google Shape;37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9"/>
          <p:cNvSpPr/>
          <p:nvPr/>
        </p:nvSpPr>
        <p:spPr>
          <a:xfrm>
            <a:off x="4769825" y="75"/>
            <a:ext cx="4374000" cy="5143500"/>
          </a:xfrm>
          <a:prstGeom prst="rect">
            <a:avLst/>
          </a:prstGeom>
          <a:solidFill>
            <a:srgbClr val="99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0" name="Google Shape;40;p9"/>
          <p:cNvCxnSpPr/>
          <p:nvPr/>
        </p:nvCxnSpPr>
        <p:spPr>
          <a:xfrm>
            <a:off x="5029675" y="4495500"/>
            <a:ext cx="468300" cy="0"/>
          </a:xfrm>
          <a:prstGeom prst="straightConnector1">
            <a:avLst/>
          </a:prstGeom>
          <a:noFill/>
          <a:ln w="19050" cap="flat" cmpd="sng">
            <a:solidFill>
              <a:srgbClr val="F1C23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41;p9"/>
          <p:cNvSpPr txBox="1">
            <a:spLocks noGrp="1"/>
          </p:cNvSpPr>
          <p:nvPr>
            <p:ph type="title"/>
          </p:nvPr>
        </p:nvSpPr>
        <p:spPr>
          <a:xfrm>
            <a:off x="265500" y="1205825"/>
            <a:ext cx="4045200" cy="150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42" name="Google Shape;42;p9"/>
          <p:cNvSpPr txBox="1">
            <a:spLocks noGrp="1"/>
          </p:cNvSpPr>
          <p:nvPr>
            <p:ph type="subTitle" idx="1"/>
          </p:nvPr>
        </p:nvSpPr>
        <p:spPr>
          <a:xfrm>
            <a:off x="265500" y="2769001"/>
            <a:ext cx="4045200" cy="134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3" name="Google Shape;43;p9"/>
          <p:cNvSpPr txBox="1">
            <a:spLocks noGrp="1"/>
          </p:cNvSpPr>
          <p:nvPr>
            <p:ph type="body" idx="2"/>
          </p:nvPr>
        </p:nvSpPr>
        <p:spPr>
          <a:xfrm>
            <a:off x="4939500" y="724200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●"/>
              <a:defRPr>
                <a:solidFill>
                  <a:schemeClr val="lt1"/>
                </a:solidFill>
              </a:defRPr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4" name="Google Shape;44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solidFill>
                  <a:schemeClr val="lt1"/>
                </a:solidFill>
              </a:defRPr>
            </a:lvl1pPr>
            <a:lvl2pPr lvl="1" rtl="0">
              <a:buNone/>
              <a:defRPr>
                <a:solidFill>
                  <a:schemeClr val="lt1"/>
                </a:solidFill>
              </a:defRPr>
            </a:lvl2pPr>
            <a:lvl3pPr lvl="2" rtl="0">
              <a:buNone/>
              <a:defRPr>
                <a:solidFill>
                  <a:schemeClr val="lt1"/>
                </a:solidFill>
              </a:defRPr>
            </a:lvl3pPr>
            <a:lvl4pPr lvl="3" rtl="0">
              <a:buNone/>
              <a:defRPr>
                <a:solidFill>
                  <a:schemeClr val="lt1"/>
                </a:solidFill>
              </a:defRPr>
            </a:lvl4pPr>
            <a:lvl5pPr lvl="4" rtl="0">
              <a:buNone/>
              <a:defRPr>
                <a:solidFill>
                  <a:schemeClr val="lt1"/>
                </a:solidFill>
              </a:defRPr>
            </a:lvl5pPr>
            <a:lvl6pPr lvl="5" rtl="0">
              <a:buNone/>
              <a:defRPr>
                <a:solidFill>
                  <a:schemeClr val="lt1"/>
                </a:solidFill>
              </a:defRPr>
            </a:lvl6pPr>
            <a:lvl7pPr lvl="6" rtl="0">
              <a:buNone/>
              <a:defRPr>
                <a:solidFill>
                  <a:schemeClr val="lt1"/>
                </a:solidFill>
              </a:defRPr>
            </a:lvl7pPr>
            <a:lvl8pPr lvl="7" rtl="0">
              <a:buNone/>
              <a:defRPr>
                <a:solidFill>
                  <a:schemeClr val="lt1"/>
                </a:solidFill>
              </a:defRPr>
            </a:lvl8pPr>
            <a:lvl9pPr lvl="8" rtl="0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0"/>
          <p:cNvSpPr txBox="1">
            <a:spLocks noGrp="1"/>
          </p:cNvSpPr>
          <p:nvPr>
            <p:ph type="body" idx="1"/>
          </p:nvPr>
        </p:nvSpPr>
        <p:spPr>
          <a:xfrm>
            <a:off x="311700" y="4236825"/>
            <a:ext cx="5998800" cy="59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</a:lstStyle>
          <a:p>
            <a:endParaRPr/>
          </a:p>
        </p:txBody>
      </p:sp>
      <p:sp>
        <p:nvSpPr>
          <p:cNvPr id="47" name="Google Shape;47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pearmint">
    <p:bg>
      <p:bgPr>
        <a:solidFill>
          <a:srgbClr val="EFEFE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767779E-F9BA-417E-B59E-5BCA01F2E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01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8" imgH="278" progId="TCLayout.ActiveDocument.1">
                  <p:embed/>
                </p:oleObj>
              </mc:Choice>
              <mc:Fallback>
                <p:oleObj name="think-cell Slide" r:id="rId14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00"/>
              <a:buFont typeface="Proxima Nova"/>
              <a:buChar char="●"/>
              <a:defRPr sz="1800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317500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3"/>
              </a:buClr>
              <a:buSzPts val="1400"/>
              <a:buFont typeface="Proxima Nova"/>
              <a:buChar char="■"/>
              <a:defRPr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lvl="2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lvl="3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lvl="4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lvl="5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lvl="6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lvl="7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lvl="8" algn="r" rtl="0">
              <a:buNone/>
              <a:defRPr sz="10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3"/>
          <p:cNvSpPr txBox="1">
            <a:spLocks noGrp="1"/>
          </p:cNvSpPr>
          <p:nvPr>
            <p:ph type="subTitle" idx="1"/>
          </p:nvPr>
        </p:nvSpPr>
        <p:spPr>
          <a:xfrm>
            <a:off x="157990" y="1717149"/>
            <a:ext cx="8123100" cy="63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dirty="0">
                <a:solidFill>
                  <a:srgbClr val="990000"/>
                </a:solidFill>
              </a:rPr>
              <a:t>23 November 2020</a:t>
            </a:r>
            <a:endParaRPr b="1" dirty="0">
              <a:solidFill>
                <a:srgbClr val="990000"/>
              </a:solidFill>
            </a:endParaRPr>
          </a:p>
        </p:txBody>
      </p:sp>
      <p:sp>
        <p:nvSpPr>
          <p:cNvPr id="60" name="Google Shape;60;p13"/>
          <p:cNvSpPr txBox="1"/>
          <p:nvPr/>
        </p:nvSpPr>
        <p:spPr>
          <a:xfrm>
            <a:off x="99925" y="196342"/>
            <a:ext cx="7996200" cy="148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000" b="1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Concealed Carry </a:t>
            </a:r>
            <a:r>
              <a:rPr lang="en" sz="4000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Legislation</a:t>
            </a:r>
            <a:endParaRPr sz="40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61" name="Google Shape;61;p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262675" y="2778125"/>
            <a:ext cx="3024201" cy="3024201"/>
          </a:xfrm>
          <a:prstGeom prst="rect">
            <a:avLst/>
          </a:prstGeom>
          <a:noFill/>
          <a:ln>
            <a:noFill/>
          </a:ln>
        </p:spPr>
      </p:pic>
      <p:pic>
        <p:nvPicPr>
          <p:cNvPr id="62" name="Google Shape;62;p1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127775" y="3890250"/>
            <a:ext cx="1481100" cy="1481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oogle Shape;82;p14">
            <a:extLst>
              <a:ext uri="{FF2B5EF4-FFF2-40B4-BE49-F238E27FC236}">
                <a16:creationId xmlns:a16="http://schemas.microsoft.com/office/drawing/2014/main" id="{CE25A03A-48CC-4136-A741-D14547D1AF3F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438147" y="323575"/>
            <a:ext cx="1351200" cy="1351200"/>
          </a:xfrm>
          <a:prstGeom prst="ellipse">
            <a:avLst/>
          </a:prstGeom>
          <a:noFill/>
          <a:ln>
            <a:noFill/>
          </a:ln>
        </p:spPr>
      </p:pic>
      <p:sp>
        <p:nvSpPr>
          <p:cNvPr id="7" name="Google Shape;73;p14">
            <a:extLst>
              <a:ext uri="{FF2B5EF4-FFF2-40B4-BE49-F238E27FC236}">
                <a16:creationId xmlns:a16="http://schemas.microsoft.com/office/drawing/2014/main" id="{7263F828-C554-4D46-9EF0-F00F1110DFB9}"/>
              </a:ext>
            </a:extLst>
          </p:cNvPr>
          <p:cNvSpPr txBox="1">
            <a:spLocks/>
          </p:cNvSpPr>
          <p:nvPr/>
        </p:nvSpPr>
        <p:spPr>
          <a:xfrm>
            <a:off x="7218997" y="1686467"/>
            <a:ext cx="1789500" cy="34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00"/>
              <a:buFont typeface="Proxima Nova"/>
              <a:buChar char="●"/>
              <a:defRPr sz="18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●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Proxima Nova"/>
              <a:buChar char="○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3"/>
              </a:buClr>
              <a:buSzPts val="1400"/>
              <a:buFont typeface="Proxima Nova"/>
              <a:buChar char="■"/>
              <a:defRPr sz="1400" b="0" i="0" u="none" strike="noStrike" cap="none">
                <a:solidFill>
                  <a:schemeClr val="accent3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indent="0" algn="ctr">
              <a:spcAft>
                <a:spcPts val="1600"/>
              </a:spcAft>
              <a:buFont typeface="Proxima Nova"/>
              <a:buNone/>
            </a:pPr>
            <a:r>
              <a:rPr lang="en-US" sz="1300" dirty="0">
                <a:solidFill>
                  <a:schemeClr val="dk1"/>
                </a:solidFill>
              </a:rPr>
              <a:t>Amit Gottipati</a:t>
            </a:r>
          </a:p>
        </p:txBody>
      </p:sp>
      <p:cxnSp>
        <p:nvCxnSpPr>
          <p:cNvPr id="8" name="Google Shape;79;p14">
            <a:extLst>
              <a:ext uri="{FF2B5EF4-FFF2-40B4-BE49-F238E27FC236}">
                <a16:creationId xmlns:a16="http://schemas.microsoft.com/office/drawing/2014/main" id="{5979C0E3-4E2A-49D1-9C0E-AC75D40C2E26}"/>
              </a:ext>
            </a:extLst>
          </p:cNvPr>
          <p:cNvCxnSpPr/>
          <p:nvPr/>
        </p:nvCxnSpPr>
        <p:spPr>
          <a:xfrm>
            <a:off x="7767025" y="2059928"/>
            <a:ext cx="658200" cy="12600"/>
          </a:xfrm>
          <a:prstGeom prst="straightConnector1">
            <a:avLst/>
          </a:prstGeom>
          <a:noFill/>
          <a:ln w="38100" cap="flat" cmpd="sng">
            <a:solidFill>
              <a:srgbClr val="F1C232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p21"/>
          <p:cNvSpPr txBox="1"/>
          <p:nvPr/>
        </p:nvSpPr>
        <p:spPr>
          <a:xfrm>
            <a:off x="1296150" y="3392525"/>
            <a:ext cx="6551700" cy="58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990000"/>
                </a:solidFill>
              </a:rPr>
              <a:t>Based on the results above</a:t>
            </a:r>
            <a:r>
              <a:rPr lang="en" b="1">
                <a:solidFill>
                  <a:srgbClr val="990000"/>
                </a:solidFill>
              </a:rPr>
              <a:t>, the isolated effect </a:t>
            </a:r>
            <a:r>
              <a:rPr lang="en">
                <a:solidFill>
                  <a:srgbClr val="990000"/>
                </a:solidFill>
              </a:rPr>
              <a:t>of change in legislation from no issue to shall issue is an increase in average victim count of </a:t>
            </a:r>
            <a:br>
              <a:rPr lang="en">
                <a:solidFill>
                  <a:srgbClr val="990000"/>
                </a:solidFill>
              </a:rPr>
            </a:br>
            <a:r>
              <a:rPr lang="en" b="1">
                <a:solidFill>
                  <a:srgbClr val="990000"/>
                </a:solidFill>
              </a:rPr>
              <a:t>0.08596 individuals per homicide. </a:t>
            </a:r>
            <a:endParaRPr b="1">
              <a:solidFill>
                <a:srgbClr val="990000"/>
              </a:solidFill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162" name="Google Shape;162;p21"/>
          <p:cNvSpPr/>
          <p:nvPr/>
        </p:nvSpPr>
        <p:spPr>
          <a:xfrm rot="10800000" flipH="1">
            <a:off x="0" y="-50"/>
            <a:ext cx="2976600" cy="1468500"/>
          </a:xfrm>
          <a:prstGeom prst="rtTriangle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3" name="Google Shape;163;p21"/>
          <p:cNvSpPr txBox="1"/>
          <p:nvPr/>
        </p:nvSpPr>
        <p:spPr>
          <a:xfrm>
            <a:off x="102150" y="37825"/>
            <a:ext cx="2535600" cy="78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3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Model 1</a:t>
            </a:r>
            <a:endParaRPr sz="23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3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Results</a:t>
            </a:r>
            <a:endParaRPr sz="23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64" name="Google Shape;164;p21"/>
          <p:cNvPicPr preferRelativeResize="0"/>
          <p:nvPr/>
        </p:nvPicPr>
        <p:blipFill rotWithShape="1">
          <a:blip r:embed="rId3">
            <a:alphaModFix/>
          </a:blip>
          <a:srcRect l="1594"/>
          <a:stretch/>
        </p:blipFill>
        <p:spPr>
          <a:xfrm>
            <a:off x="2239800" y="664650"/>
            <a:ext cx="4718526" cy="26234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65" name="Google Shape;165;p2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685900" y="4287350"/>
            <a:ext cx="833028" cy="83254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6" name="Google Shape;166;p21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305073" y="4263750"/>
            <a:ext cx="880251" cy="879750"/>
          </a:xfrm>
          <a:prstGeom prst="rect">
            <a:avLst/>
          </a:prstGeom>
          <a:noFill/>
          <a:ln>
            <a:noFill/>
          </a:ln>
        </p:spPr>
      </p:pic>
      <p:sp>
        <p:nvSpPr>
          <p:cNvPr id="167" name="Google Shape;167;p21"/>
          <p:cNvSpPr/>
          <p:nvPr/>
        </p:nvSpPr>
        <p:spPr>
          <a:xfrm>
            <a:off x="3115225" y="2808875"/>
            <a:ext cx="766200" cy="153000"/>
          </a:xfrm>
          <a:prstGeom prst="ellipse">
            <a:avLst/>
          </a:prstGeom>
          <a:noFill/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22"/>
          <p:cNvSpPr/>
          <p:nvPr/>
        </p:nvSpPr>
        <p:spPr>
          <a:xfrm>
            <a:off x="0" y="5225"/>
            <a:ext cx="9144000" cy="542100"/>
          </a:xfrm>
          <a:prstGeom prst="rect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1155CC"/>
              </a:solidFill>
            </a:endParaRPr>
          </a:p>
        </p:txBody>
      </p:sp>
      <p:sp>
        <p:nvSpPr>
          <p:cNvPr id="173" name="Google Shape;173;p22"/>
          <p:cNvSpPr txBox="1">
            <a:spLocks noGrp="1"/>
          </p:cNvSpPr>
          <p:nvPr>
            <p:ph type="title"/>
          </p:nvPr>
        </p:nvSpPr>
        <p:spPr>
          <a:xfrm>
            <a:off x="38525" y="20525"/>
            <a:ext cx="8115000" cy="481800"/>
          </a:xfrm>
          <a:prstGeom prst="rect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b="1">
                <a:solidFill>
                  <a:srgbClr val="F1C232"/>
                </a:solidFill>
              </a:rPr>
              <a:t>Parallel Trends - DiD Model 2</a:t>
            </a:r>
            <a:endParaRPr sz="2400" b="1">
              <a:solidFill>
                <a:srgbClr val="F1C232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solidFill>
                <a:srgbClr val="F1C232"/>
              </a:solidFill>
            </a:endParaRPr>
          </a:p>
        </p:txBody>
      </p:sp>
      <p:sp>
        <p:nvSpPr>
          <p:cNvPr id="174" name="Google Shape;174;p22"/>
          <p:cNvSpPr txBox="1"/>
          <p:nvPr/>
        </p:nvSpPr>
        <p:spPr>
          <a:xfrm>
            <a:off x="829488" y="699725"/>
            <a:ext cx="7485000" cy="92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Parallel Trends in Illinois and North Carolina </a:t>
            </a:r>
            <a:r>
              <a:rPr lang="en" sz="1800" b="1" i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before </a:t>
            </a:r>
            <a:r>
              <a:rPr lang="en" sz="18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change in gun law</a:t>
            </a:r>
            <a:endParaRPr sz="1800"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75" name="Google Shape;175;p2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739300" y="1256850"/>
            <a:ext cx="5665403" cy="3104226"/>
          </a:xfrm>
          <a:prstGeom prst="rect">
            <a:avLst/>
          </a:prstGeom>
          <a:noFill/>
          <a:ln>
            <a:noFill/>
          </a:ln>
        </p:spPr>
      </p:pic>
      <p:pic>
        <p:nvPicPr>
          <p:cNvPr id="176" name="Google Shape;176;p2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229600" y="4229050"/>
            <a:ext cx="914451" cy="91445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7" name="Google Shape;177;p22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327825" y="3909690"/>
            <a:ext cx="1283181" cy="155317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p23"/>
          <p:cNvSpPr txBox="1"/>
          <p:nvPr/>
        </p:nvSpPr>
        <p:spPr>
          <a:xfrm>
            <a:off x="2525750" y="-36750"/>
            <a:ext cx="6618300" cy="5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Victim_Count =  β</a:t>
            </a:r>
            <a:r>
              <a:rPr lang="en" sz="2000" b="1" baseline="-250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0</a:t>
            </a: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+δ</a:t>
            </a:r>
            <a:r>
              <a:rPr lang="en" sz="2000" b="1" baseline="-250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0 </a:t>
            </a: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y20 + β</a:t>
            </a:r>
            <a:r>
              <a:rPr lang="en" sz="2000" b="1" baseline="-250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1</a:t>
            </a: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NC + δ</a:t>
            </a:r>
            <a:r>
              <a:rPr lang="en" sz="2000" b="1" baseline="-250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1</a:t>
            </a: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y20*NC+µ</a:t>
            </a:r>
            <a:endParaRPr sz="2000"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ctr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 sz="2000"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183" name="Google Shape;183;p23"/>
          <p:cNvSpPr/>
          <p:nvPr/>
        </p:nvSpPr>
        <p:spPr>
          <a:xfrm>
            <a:off x="0" y="-8400"/>
            <a:ext cx="2469300" cy="607800"/>
          </a:xfrm>
          <a:prstGeom prst="homePlate">
            <a:avLst>
              <a:gd name="adj" fmla="val 50000"/>
            </a:avLst>
          </a:prstGeom>
          <a:solidFill>
            <a:srgbClr val="990000"/>
          </a:solidFill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/>
          </a:p>
        </p:txBody>
      </p:sp>
      <p:sp>
        <p:nvSpPr>
          <p:cNvPr id="184" name="Google Shape;184;p23"/>
          <p:cNvSpPr txBox="1"/>
          <p:nvPr/>
        </p:nvSpPr>
        <p:spPr>
          <a:xfrm>
            <a:off x="42450" y="57750"/>
            <a:ext cx="2172000" cy="47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NC vs. IL Model</a:t>
            </a:r>
            <a:endParaRPr sz="17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85" name="Google Shape;185;p2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02625" y="1265775"/>
            <a:ext cx="5257726" cy="3313450"/>
          </a:xfrm>
          <a:prstGeom prst="rect">
            <a:avLst/>
          </a:prstGeom>
          <a:noFill/>
          <a:ln>
            <a:noFill/>
          </a:ln>
        </p:spPr>
      </p:pic>
      <p:sp>
        <p:nvSpPr>
          <p:cNvPr id="186" name="Google Shape;186;p23"/>
          <p:cNvSpPr txBox="1"/>
          <p:nvPr/>
        </p:nvSpPr>
        <p:spPr>
          <a:xfrm>
            <a:off x="5676100" y="1682150"/>
            <a:ext cx="2832900" cy="248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u="sng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Control Group: Illinois</a:t>
            </a:r>
            <a:endParaRPr b="1" u="sng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-"/>
            </a:pPr>
            <a:r>
              <a:rPr lang="en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Before: 1.08</a:t>
            </a: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-"/>
            </a:pPr>
            <a:r>
              <a:rPr lang="en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After: 1.065</a:t>
            </a: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u="sng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Treatment Group: North Carolina</a:t>
            </a:r>
            <a:endParaRPr b="1" u="sng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-"/>
            </a:pPr>
            <a:r>
              <a:rPr lang="en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Before: 1.100</a:t>
            </a: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-"/>
            </a:pPr>
            <a:r>
              <a:rPr lang="en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After: 1.089</a:t>
            </a: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Legislation Change in 1995</a:t>
            </a:r>
            <a:endParaRPr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87" name="Google Shape;187;p2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229600" y="4229050"/>
            <a:ext cx="914451" cy="914451"/>
          </a:xfrm>
          <a:prstGeom prst="rect">
            <a:avLst/>
          </a:prstGeom>
          <a:noFill/>
          <a:ln>
            <a:noFill/>
          </a:ln>
        </p:spPr>
      </p:pic>
      <p:pic>
        <p:nvPicPr>
          <p:cNvPr id="188" name="Google Shape;188;p2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327825" y="3909690"/>
            <a:ext cx="1283181" cy="155317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3" name="Google Shape;193;p2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212738" y="874350"/>
            <a:ext cx="4718526" cy="2326600"/>
          </a:xfrm>
          <a:prstGeom prst="rect">
            <a:avLst/>
          </a:prstGeom>
          <a:noFill/>
          <a:ln>
            <a:noFill/>
          </a:ln>
        </p:spPr>
      </p:pic>
      <p:sp>
        <p:nvSpPr>
          <p:cNvPr id="194" name="Google Shape;194;p24"/>
          <p:cNvSpPr/>
          <p:nvPr/>
        </p:nvSpPr>
        <p:spPr>
          <a:xfrm rot="10800000" flipH="1">
            <a:off x="0" y="-50"/>
            <a:ext cx="2976600" cy="1468500"/>
          </a:xfrm>
          <a:prstGeom prst="rtTriangle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5" name="Google Shape;195;p24"/>
          <p:cNvSpPr txBox="1"/>
          <p:nvPr/>
        </p:nvSpPr>
        <p:spPr>
          <a:xfrm>
            <a:off x="102150" y="37825"/>
            <a:ext cx="2535600" cy="78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3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Model 2</a:t>
            </a:r>
            <a:endParaRPr sz="23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3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Results</a:t>
            </a:r>
            <a:endParaRPr sz="23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96" name="Google Shape;196;p2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229600" y="4229050"/>
            <a:ext cx="914451" cy="914451"/>
          </a:xfrm>
          <a:prstGeom prst="rect">
            <a:avLst/>
          </a:prstGeom>
          <a:noFill/>
          <a:ln>
            <a:noFill/>
          </a:ln>
        </p:spPr>
      </p:pic>
      <p:pic>
        <p:nvPicPr>
          <p:cNvPr id="197" name="Google Shape;197;p24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327825" y="3909690"/>
            <a:ext cx="1283181" cy="1553172"/>
          </a:xfrm>
          <a:prstGeom prst="rect">
            <a:avLst/>
          </a:prstGeom>
          <a:noFill/>
          <a:ln>
            <a:noFill/>
          </a:ln>
        </p:spPr>
      </p:pic>
      <p:sp>
        <p:nvSpPr>
          <p:cNvPr id="198" name="Google Shape;198;p24"/>
          <p:cNvSpPr/>
          <p:nvPr/>
        </p:nvSpPr>
        <p:spPr>
          <a:xfrm>
            <a:off x="3110750" y="2785150"/>
            <a:ext cx="766200" cy="148200"/>
          </a:xfrm>
          <a:prstGeom prst="ellipse">
            <a:avLst/>
          </a:prstGeom>
          <a:noFill/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9" name="Google Shape;199;p24"/>
          <p:cNvSpPr txBox="1"/>
          <p:nvPr/>
        </p:nvSpPr>
        <p:spPr>
          <a:xfrm>
            <a:off x="1296163" y="3297175"/>
            <a:ext cx="6551700" cy="58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rgbClr val="990000"/>
                </a:solidFill>
              </a:rPr>
              <a:t>Based on the results above</a:t>
            </a:r>
            <a:r>
              <a:rPr lang="en" b="1">
                <a:solidFill>
                  <a:srgbClr val="990000"/>
                </a:solidFill>
              </a:rPr>
              <a:t>, the isolated effect </a:t>
            </a:r>
            <a:r>
              <a:rPr lang="en">
                <a:solidFill>
                  <a:srgbClr val="990000"/>
                </a:solidFill>
              </a:rPr>
              <a:t>of change in legislation from no issue to shall issue is an increase in average victim count of </a:t>
            </a:r>
            <a:endParaRPr>
              <a:solidFill>
                <a:srgbClr val="990000"/>
              </a:solidFill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rgbClr val="990000"/>
                </a:solidFill>
              </a:rPr>
              <a:t>0.003734 individuals per homicide</a:t>
            </a:r>
            <a:r>
              <a:rPr lang="en">
                <a:solidFill>
                  <a:srgbClr val="990000"/>
                </a:solidFill>
              </a:rPr>
              <a:t>. </a:t>
            </a:r>
            <a:endParaRPr>
              <a:solidFill>
                <a:srgbClr val="990000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p25"/>
          <p:cNvSpPr/>
          <p:nvPr/>
        </p:nvSpPr>
        <p:spPr>
          <a:xfrm>
            <a:off x="0" y="0"/>
            <a:ext cx="9161100" cy="2484600"/>
          </a:xfrm>
          <a:prstGeom prst="rect">
            <a:avLst/>
          </a:prstGeom>
          <a:solidFill>
            <a:srgbClr val="99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990000"/>
              </a:solidFill>
            </a:endParaRPr>
          </a:p>
        </p:txBody>
      </p:sp>
      <p:sp>
        <p:nvSpPr>
          <p:cNvPr id="205" name="Google Shape;205;p25"/>
          <p:cNvSpPr txBox="1">
            <a:spLocks noGrp="1"/>
          </p:cNvSpPr>
          <p:nvPr>
            <p:ph type="title" idx="4294967295"/>
          </p:nvPr>
        </p:nvSpPr>
        <p:spPr>
          <a:xfrm>
            <a:off x="235500" y="1849650"/>
            <a:ext cx="8520600" cy="733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500" b="1">
                <a:solidFill>
                  <a:srgbClr val="F1C232"/>
                </a:solidFill>
              </a:rPr>
              <a:t>Thank You</a:t>
            </a:r>
            <a:endParaRPr sz="3500">
              <a:solidFill>
                <a:srgbClr val="EFEFEF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17"/>
          <p:cNvSpPr/>
          <p:nvPr/>
        </p:nvSpPr>
        <p:spPr>
          <a:xfrm rot="10800000" flipH="1">
            <a:off x="0" y="-50"/>
            <a:ext cx="2976600" cy="1468500"/>
          </a:xfrm>
          <a:prstGeom prst="rtTriangle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17"/>
          <p:cNvSpPr txBox="1"/>
          <p:nvPr/>
        </p:nvSpPr>
        <p:spPr>
          <a:xfrm>
            <a:off x="220500" y="58014"/>
            <a:ext cx="2535600" cy="78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500" b="1" dirty="0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Facts</a:t>
            </a:r>
            <a:endParaRPr sz="2500" b="1" dirty="0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25" name="Google Shape;125;p1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37028" y="3067450"/>
            <a:ext cx="2815851" cy="2815851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B23ACA-69F1-4BF2-A576-292B5441E9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22495" y="3067450"/>
            <a:ext cx="4497305" cy="182317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4442518-739C-4F3A-B3E2-B5313E52ACEE}"/>
              </a:ext>
            </a:extLst>
          </p:cNvPr>
          <p:cNvSpPr txBox="1"/>
          <p:nvPr/>
        </p:nvSpPr>
        <p:spPr>
          <a:xfrm>
            <a:off x="2066218" y="517436"/>
            <a:ext cx="2261763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Gun violence takes many forms such as suicides, homicides, police shootings, etc. One third of Gun deaths are homicide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E6290A5-36C7-4CE6-B57D-52FCF57471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1658" y="1584959"/>
            <a:ext cx="3610701" cy="19735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EB1FF7D-2278-4212-805B-306AC5CD628F}"/>
              </a:ext>
            </a:extLst>
          </p:cNvPr>
          <p:cNvSpPr txBox="1"/>
          <p:nvPr/>
        </p:nvSpPr>
        <p:spPr>
          <a:xfrm>
            <a:off x="4322495" y="2185824"/>
            <a:ext cx="21455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Black / African American population in the US is just around 13% yet they are affected disproportionately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1BE05A-FB82-4C87-852D-D12A3B3AA3EC}"/>
              </a:ext>
            </a:extLst>
          </p:cNvPr>
          <p:cNvSpPr txBox="1"/>
          <p:nvPr/>
        </p:nvSpPr>
        <p:spPr>
          <a:xfrm>
            <a:off x="2206082" y="3840454"/>
            <a:ext cx="154103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America leads in gun violence among high income nations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1894C0E-F51D-4723-9BF0-876F4D5CD2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27623" y="95929"/>
            <a:ext cx="3679552" cy="1973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4030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15"/>
          <p:cNvSpPr/>
          <p:nvPr/>
        </p:nvSpPr>
        <p:spPr>
          <a:xfrm>
            <a:off x="936" y="1"/>
            <a:ext cx="1089900" cy="4213200"/>
          </a:xfrm>
          <a:prstGeom prst="rect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1155CC"/>
              </a:solidFill>
            </a:endParaRPr>
          </a:p>
        </p:txBody>
      </p:sp>
      <p:sp>
        <p:nvSpPr>
          <p:cNvPr id="89" name="Google Shape;89;p15"/>
          <p:cNvSpPr/>
          <p:nvPr/>
        </p:nvSpPr>
        <p:spPr>
          <a:xfrm>
            <a:off x="0" y="4213400"/>
            <a:ext cx="9144000" cy="930000"/>
          </a:xfrm>
          <a:prstGeom prst="rect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1155CC"/>
              </a:solidFill>
            </a:endParaRPr>
          </a:p>
        </p:txBody>
      </p:sp>
      <p:sp>
        <p:nvSpPr>
          <p:cNvPr id="90" name="Google Shape;90;p15"/>
          <p:cNvSpPr txBox="1">
            <a:spLocks noGrp="1"/>
          </p:cNvSpPr>
          <p:nvPr>
            <p:ph type="title"/>
          </p:nvPr>
        </p:nvSpPr>
        <p:spPr>
          <a:xfrm>
            <a:off x="65100" y="4483650"/>
            <a:ext cx="8456400" cy="450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rgbClr val="F1C232"/>
                </a:solidFill>
              </a:rPr>
              <a:t>Concealed Carry</a:t>
            </a:r>
            <a:endParaRPr>
              <a:solidFill>
                <a:srgbClr val="F1C232"/>
              </a:solidFill>
            </a:endParaRPr>
          </a:p>
        </p:txBody>
      </p:sp>
      <p:grpSp>
        <p:nvGrpSpPr>
          <p:cNvPr id="91" name="Google Shape;91;p15"/>
          <p:cNvGrpSpPr/>
          <p:nvPr/>
        </p:nvGrpSpPr>
        <p:grpSpPr>
          <a:xfrm>
            <a:off x="-39676" y="147"/>
            <a:ext cx="6505906" cy="1035728"/>
            <a:chOff x="3728375" y="2322568"/>
            <a:chExt cx="4294611" cy="643669"/>
          </a:xfrm>
        </p:grpSpPr>
        <p:sp>
          <p:nvSpPr>
            <p:cNvPr id="92" name="Google Shape;92;p15"/>
            <p:cNvSpPr/>
            <p:nvPr/>
          </p:nvSpPr>
          <p:spPr>
            <a:xfrm>
              <a:off x="3728375" y="2322568"/>
              <a:ext cx="3822600" cy="64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/>
            </a:p>
          </p:txBody>
        </p:sp>
        <p:sp>
          <p:nvSpPr>
            <p:cNvPr id="93" name="Google Shape;93;p15"/>
            <p:cNvSpPr/>
            <p:nvPr/>
          </p:nvSpPr>
          <p:spPr>
            <a:xfrm>
              <a:off x="3755154" y="2323625"/>
              <a:ext cx="719400" cy="642600"/>
            </a:xfrm>
            <a:prstGeom prst="rect">
              <a:avLst/>
            </a:prstGeom>
            <a:solidFill>
              <a:srgbClr val="99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rgbClr val="FFFFFF"/>
                </a:solidFill>
                <a:latin typeface="Roboto Thin"/>
                <a:ea typeface="Roboto Thin"/>
                <a:cs typeface="Roboto Thin"/>
                <a:sym typeface="Roboto Thin"/>
              </a:endParaRPr>
            </a:p>
          </p:txBody>
        </p:sp>
        <p:sp>
          <p:nvSpPr>
            <p:cNvPr id="94" name="Google Shape;94;p15"/>
            <p:cNvSpPr/>
            <p:nvPr/>
          </p:nvSpPr>
          <p:spPr>
            <a:xfrm>
              <a:off x="4499186" y="2323937"/>
              <a:ext cx="3523800" cy="64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b="1">
                  <a:solidFill>
                    <a:srgbClr val="990000"/>
                  </a:solidFill>
                  <a:latin typeface="Calibri"/>
                  <a:ea typeface="Calibri"/>
                  <a:cs typeface="Calibri"/>
                  <a:sym typeface="Calibri"/>
                </a:rPr>
                <a:t>National Controversy and Second Amendment Rights</a:t>
              </a:r>
              <a:endParaRPr b="1">
                <a:solidFill>
                  <a:srgbClr val="990000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grpSp>
        <p:nvGrpSpPr>
          <p:cNvPr id="95" name="Google Shape;95;p15"/>
          <p:cNvGrpSpPr/>
          <p:nvPr/>
        </p:nvGrpSpPr>
        <p:grpSpPr>
          <a:xfrm>
            <a:off x="891" y="3163225"/>
            <a:ext cx="6579273" cy="1050238"/>
            <a:chOff x="3252150" y="2323741"/>
            <a:chExt cx="4343041" cy="652686"/>
          </a:xfrm>
        </p:grpSpPr>
        <p:sp>
          <p:nvSpPr>
            <p:cNvPr id="96" name="Google Shape;96;p15"/>
            <p:cNvSpPr/>
            <p:nvPr/>
          </p:nvSpPr>
          <p:spPr>
            <a:xfrm>
              <a:off x="3252150" y="2333827"/>
              <a:ext cx="719400" cy="642600"/>
            </a:xfrm>
            <a:prstGeom prst="rect">
              <a:avLst/>
            </a:prstGeom>
            <a:solidFill>
              <a:srgbClr val="99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rgbClr val="FFFFFF"/>
                </a:solidFill>
                <a:latin typeface="Roboto Thin"/>
                <a:ea typeface="Roboto Thin"/>
                <a:cs typeface="Roboto Thin"/>
                <a:sym typeface="Roboto Thin"/>
              </a:endParaRPr>
            </a:p>
          </p:txBody>
        </p:sp>
        <p:sp>
          <p:nvSpPr>
            <p:cNvPr id="97" name="Google Shape;97;p15"/>
            <p:cNvSpPr/>
            <p:nvPr/>
          </p:nvSpPr>
          <p:spPr>
            <a:xfrm>
              <a:off x="3971791" y="2323741"/>
              <a:ext cx="3623400" cy="64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b="1">
                  <a:solidFill>
                    <a:srgbClr val="990000"/>
                  </a:solidFill>
                  <a:latin typeface="Calibri"/>
                  <a:ea typeface="Calibri"/>
                  <a:cs typeface="Calibri"/>
                  <a:sym typeface="Calibri"/>
                </a:rPr>
                <a:t>Explore effect on Homicides</a:t>
              </a:r>
              <a:endParaRPr b="1">
                <a:solidFill>
                  <a:srgbClr val="99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98" name="Google Shape;98;p15"/>
          <p:cNvGrpSpPr/>
          <p:nvPr/>
        </p:nvGrpSpPr>
        <p:grpSpPr>
          <a:xfrm>
            <a:off x="-39676" y="2099492"/>
            <a:ext cx="6619841" cy="1053801"/>
            <a:chOff x="3728375" y="2322568"/>
            <a:chExt cx="4369821" cy="654901"/>
          </a:xfrm>
        </p:grpSpPr>
        <p:sp>
          <p:nvSpPr>
            <p:cNvPr id="99" name="Google Shape;99;p15"/>
            <p:cNvSpPr/>
            <p:nvPr/>
          </p:nvSpPr>
          <p:spPr>
            <a:xfrm>
              <a:off x="3728375" y="2322568"/>
              <a:ext cx="3822600" cy="64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/>
            </a:p>
          </p:txBody>
        </p:sp>
        <p:sp>
          <p:nvSpPr>
            <p:cNvPr id="100" name="Google Shape;100;p15"/>
            <p:cNvSpPr/>
            <p:nvPr/>
          </p:nvSpPr>
          <p:spPr>
            <a:xfrm>
              <a:off x="3755154" y="2334869"/>
              <a:ext cx="719400" cy="642600"/>
            </a:xfrm>
            <a:prstGeom prst="rect">
              <a:avLst/>
            </a:prstGeom>
            <a:solidFill>
              <a:srgbClr val="99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rgbClr val="FFFFFF"/>
                </a:solidFill>
                <a:latin typeface="Roboto Thin"/>
                <a:ea typeface="Roboto Thin"/>
                <a:cs typeface="Roboto Thin"/>
                <a:sym typeface="Roboto Thin"/>
              </a:endParaRPr>
            </a:p>
          </p:txBody>
        </p:sp>
        <p:sp>
          <p:nvSpPr>
            <p:cNvPr id="101" name="Google Shape;101;p15"/>
            <p:cNvSpPr/>
            <p:nvPr/>
          </p:nvSpPr>
          <p:spPr>
            <a:xfrm>
              <a:off x="4474796" y="2323761"/>
              <a:ext cx="3623400" cy="64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b="1" dirty="0">
                  <a:solidFill>
                    <a:srgbClr val="990000"/>
                  </a:solidFill>
                  <a:latin typeface="Calibri"/>
                  <a:ea typeface="Calibri"/>
                  <a:cs typeface="Calibri"/>
                  <a:sym typeface="Calibri"/>
                </a:rPr>
                <a:t>Look at Concealed Carry Legislation</a:t>
              </a:r>
              <a:endParaRPr b="1" dirty="0">
                <a:solidFill>
                  <a:srgbClr val="99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02" name="Google Shape;102;p15"/>
          <p:cNvGrpSpPr/>
          <p:nvPr/>
        </p:nvGrpSpPr>
        <p:grpSpPr>
          <a:xfrm>
            <a:off x="1094" y="1128691"/>
            <a:ext cx="6579070" cy="1035660"/>
            <a:chOff x="3728375" y="2322568"/>
            <a:chExt cx="4288274" cy="643627"/>
          </a:xfrm>
        </p:grpSpPr>
        <p:sp>
          <p:nvSpPr>
            <p:cNvPr id="103" name="Google Shape;103;p15"/>
            <p:cNvSpPr/>
            <p:nvPr/>
          </p:nvSpPr>
          <p:spPr>
            <a:xfrm>
              <a:off x="3728375" y="2322568"/>
              <a:ext cx="3822600" cy="64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/>
            </a:p>
          </p:txBody>
        </p:sp>
        <p:sp>
          <p:nvSpPr>
            <p:cNvPr id="104" name="Google Shape;104;p15"/>
            <p:cNvSpPr/>
            <p:nvPr/>
          </p:nvSpPr>
          <p:spPr>
            <a:xfrm>
              <a:off x="3728381" y="2323595"/>
              <a:ext cx="710400" cy="642600"/>
            </a:xfrm>
            <a:prstGeom prst="rect">
              <a:avLst/>
            </a:prstGeom>
            <a:solidFill>
              <a:srgbClr val="99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>
                <a:solidFill>
                  <a:srgbClr val="FFFFFF"/>
                </a:solidFill>
                <a:latin typeface="Roboto Thin"/>
                <a:ea typeface="Roboto Thin"/>
                <a:cs typeface="Roboto Thin"/>
                <a:sym typeface="Roboto Thin"/>
              </a:endParaRPr>
            </a:p>
          </p:txBody>
        </p:sp>
        <p:sp>
          <p:nvSpPr>
            <p:cNvPr id="105" name="Google Shape;105;p15"/>
            <p:cNvSpPr/>
            <p:nvPr/>
          </p:nvSpPr>
          <p:spPr>
            <a:xfrm>
              <a:off x="4438849" y="2323740"/>
              <a:ext cx="3577800" cy="642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b="1" dirty="0">
                  <a:solidFill>
                    <a:srgbClr val="990000"/>
                  </a:solidFill>
                  <a:latin typeface="Calibri"/>
                  <a:ea typeface="Calibri"/>
                  <a:cs typeface="Calibri"/>
                  <a:sym typeface="Calibri"/>
                </a:rPr>
                <a:t>Debate Surrounding Gun Control</a:t>
              </a:r>
              <a:endParaRPr b="1" dirty="0">
                <a:solidFill>
                  <a:srgbClr val="99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06" name="Google Shape;106;p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 flipH="1">
            <a:off x="925" y="3183938"/>
            <a:ext cx="1089900" cy="1161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7" name="Google Shape;107;p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 flipH="1">
            <a:off x="925" y="2193338"/>
            <a:ext cx="1089900" cy="1161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8" name="Google Shape;108;p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 flipH="1">
            <a:off x="925" y="1278938"/>
            <a:ext cx="1089900" cy="1161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9" name="Google Shape;109;p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 flipH="1">
            <a:off x="925" y="59738"/>
            <a:ext cx="1089900" cy="11612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17"/>
          <p:cNvSpPr/>
          <p:nvPr/>
        </p:nvSpPr>
        <p:spPr>
          <a:xfrm rot="10800000" flipH="1">
            <a:off x="0" y="-50"/>
            <a:ext cx="2976600" cy="1468500"/>
          </a:xfrm>
          <a:prstGeom prst="rtTriangle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17"/>
          <p:cNvSpPr txBox="1"/>
          <p:nvPr/>
        </p:nvSpPr>
        <p:spPr>
          <a:xfrm>
            <a:off x="220500" y="-51"/>
            <a:ext cx="2535600" cy="78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500" b="1" dirty="0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History</a:t>
            </a:r>
            <a:endParaRPr sz="2500" b="1" dirty="0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25" name="Google Shape;125;p1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836125" y="3296050"/>
            <a:ext cx="2815851" cy="2815851"/>
          </a:xfrm>
          <a:prstGeom prst="rect">
            <a:avLst/>
          </a:prstGeom>
          <a:noFill/>
          <a:ln>
            <a:noFill/>
          </a:ln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CB988E95-476C-4F71-AD2B-615A2E1CDA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9484" y="1576668"/>
            <a:ext cx="5943600" cy="2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14083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71856D-DF9C-479D-B099-8FE5E86E3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2913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Google Shape;114;p16"/>
          <p:cNvSpPr txBox="1">
            <a:spLocks noGrp="1"/>
          </p:cNvSpPr>
          <p:nvPr>
            <p:ph type="title" idx="4294967295"/>
          </p:nvPr>
        </p:nvSpPr>
        <p:spPr>
          <a:xfrm rot="2498">
            <a:off x="1268999" y="1384551"/>
            <a:ext cx="6606002" cy="534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rgbClr val="990000"/>
                </a:solidFill>
              </a:rPr>
              <a:t>What effect does change in concealed carry legislation have on the number of victims seen due to gun violence?  </a:t>
            </a:r>
            <a:endParaRPr b="1">
              <a:solidFill>
                <a:srgbClr val="990000"/>
              </a:solidFill>
            </a:endParaRPr>
          </a:p>
        </p:txBody>
      </p:sp>
      <p:sp>
        <p:nvSpPr>
          <p:cNvPr id="115" name="Google Shape;115;p16"/>
          <p:cNvSpPr/>
          <p:nvPr/>
        </p:nvSpPr>
        <p:spPr>
          <a:xfrm>
            <a:off x="0" y="4213400"/>
            <a:ext cx="9144000" cy="930000"/>
          </a:xfrm>
          <a:prstGeom prst="rect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1155CC"/>
              </a:solidFill>
            </a:endParaRPr>
          </a:p>
        </p:txBody>
      </p:sp>
      <p:sp>
        <p:nvSpPr>
          <p:cNvPr id="116" name="Google Shape;116;p16"/>
          <p:cNvSpPr/>
          <p:nvPr/>
        </p:nvSpPr>
        <p:spPr>
          <a:xfrm>
            <a:off x="0" y="0"/>
            <a:ext cx="9144000" cy="930000"/>
          </a:xfrm>
          <a:prstGeom prst="rect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1155CC"/>
              </a:solidFill>
            </a:endParaRPr>
          </a:p>
        </p:txBody>
      </p:sp>
      <p:pic>
        <p:nvPicPr>
          <p:cNvPr id="117" name="Google Shape;117;p16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263900" y="2395300"/>
            <a:ext cx="2443176" cy="24862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17"/>
          <p:cNvSpPr/>
          <p:nvPr/>
        </p:nvSpPr>
        <p:spPr>
          <a:xfrm rot="10800000" flipH="1">
            <a:off x="0" y="-50"/>
            <a:ext cx="2976600" cy="1468500"/>
          </a:xfrm>
          <a:prstGeom prst="rtTriangle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" name="Google Shape;123;p17"/>
          <p:cNvSpPr txBox="1"/>
          <p:nvPr/>
        </p:nvSpPr>
        <p:spPr>
          <a:xfrm>
            <a:off x="102150" y="37825"/>
            <a:ext cx="2535600" cy="78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5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The </a:t>
            </a:r>
            <a:endParaRPr sz="25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5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Data</a:t>
            </a:r>
            <a:endParaRPr sz="25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124" name="Google Shape;124;p17"/>
          <p:cNvSpPr txBox="1"/>
          <p:nvPr/>
        </p:nvSpPr>
        <p:spPr>
          <a:xfrm>
            <a:off x="1670850" y="1204259"/>
            <a:ext cx="5802300" cy="366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800"/>
              <a:buFont typeface="Proxima Nova"/>
              <a:buChar char="●"/>
            </a:pPr>
            <a:r>
              <a:rPr lang="en" sz="1800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Sourced from the Murder Accountability Project</a:t>
            </a: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800"/>
              <a:buFont typeface="Proxima Nova"/>
              <a:buChar char="●"/>
            </a:pPr>
            <a:r>
              <a:rPr lang="en" sz="1800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Contains Homicide Data from all 50 States</a:t>
            </a: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800"/>
              <a:buFont typeface="Proxima Nova"/>
              <a:buChar char="●"/>
            </a:pPr>
            <a:r>
              <a:rPr lang="en" sz="1800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Each Record - 1 Homicide Incident</a:t>
            </a: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800"/>
              <a:buFont typeface="Proxima Nova"/>
              <a:buChar char="●"/>
            </a:pPr>
            <a:r>
              <a:rPr lang="en" sz="1800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Focusing on Texas, Illinois, North Carolina</a:t>
            </a: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914400" lvl="1" indent="-3429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800"/>
              <a:buFont typeface="Proxima Nova"/>
              <a:buChar char="○"/>
            </a:pPr>
            <a:r>
              <a:rPr lang="en" sz="1800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Focusing on Victim Count</a:t>
            </a: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800"/>
              <a:buFont typeface="Proxima Nova"/>
              <a:buChar char="●"/>
            </a:pPr>
            <a:r>
              <a:rPr lang="en" sz="1800" b="1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Key Terms:</a:t>
            </a:r>
            <a:endParaRPr sz="1800" b="1"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914400" lvl="1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○"/>
            </a:pPr>
            <a:r>
              <a:rPr lang="en" b="1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Shall Issue: </a:t>
            </a:r>
            <a:r>
              <a:rPr lang="en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If all requirements set by state law are met, concealed carry permit will be issued </a:t>
            </a:r>
            <a:endParaRPr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914400" lvl="1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○"/>
            </a:pPr>
            <a:r>
              <a:rPr lang="en" b="1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No Issue: </a:t>
            </a:r>
            <a:r>
              <a:rPr lang="en" dirty="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No issuance of concealed carry permits regardless of qualifications</a:t>
            </a:r>
            <a:endParaRPr dirty="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25" name="Google Shape;125;p1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836125" y="3296050"/>
            <a:ext cx="2815851" cy="281585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18"/>
          <p:cNvSpPr/>
          <p:nvPr/>
        </p:nvSpPr>
        <p:spPr>
          <a:xfrm rot="10800000" flipH="1">
            <a:off x="0" y="-50"/>
            <a:ext cx="2976600" cy="1468500"/>
          </a:xfrm>
          <a:prstGeom prst="rtTriangle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1" name="Google Shape;131;p18"/>
          <p:cNvSpPr txBox="1"/>
          <p:nvPr/>
        </p:nvSpPr>
        <p:spPr>
          <a:xfrm>
            <a:off x="102150" y="37825"/>
            <a:ext cx="2535600" cy="78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Post-processed</a:t>
            </a:r>
            <a:endParaRPr sz="20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Data</a:t>
            </a:r>
            <a:endParaRPr sz="20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132" name="Google Shape;132;p18"/>
          <p:cNvSpPr txBox="1"/>
          <p:nvPr/>
        </p:nvSpPr>
        <p:spPr>
          <a:xfrm>
            <a:off x="1019200" y="976300"/>
            <a:ext cx="5802300" cy="366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1" u="sng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Date Range:</a:t>
            </a: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 1990/2000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1" u="sng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1" u="sng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Texas vs. Illinois Data</a:t>
            </a:r>
            <a:endParaRPr sz="1600" b="1" u="sng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302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600"/>
              <a:buFont typeface="Proxima Nova"/>
              <a:buChar char="-"/>
            </a:pP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3,427 Total Homicides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914400" lvl="1" indent="-3302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600"/>
              <a:buFont typeface="Proxima Nova"/>
              <a:buChar char="-"/>
            </a:pP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Texas: 2,495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1371600" lvl="2" indent="-3302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600"/>
              <a:buFont typeface="Proxima Nova"/>
              <a:buChar char="-"/>
            </a:pP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Change in Legislation in 1995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914400" lvl="1" indent="-3302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600"/>
              <a:buFont typeface="Proxima Nova"/>
              <a:buChar char="-"/>
            </a:pP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Illinois: 932 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1" u="sng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North Carolina vs. Illinois Data</a:t>
            </a:r>
            <a:endParaRPr sz="1600" b="1" u="sng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302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600"/>
              <a:buFont typeface="Proxima Nova"/>
              <a:buChar char="-"/>
            </a:pP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1,736 Total Homicides 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914400" lvl="1" indent="-3302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600"/>
              <a:buFont typeface="Proxima Nova"/>
              <a:buChar char="-"/>
            </a:pP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N. Carolina: 804 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1371600" lvl="2" indent="-3302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600"/>
              <a:buFont typeface="Proxima Nova"/>
              <a:buChar char="-"/>
            </a:pP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Change in Legislation in 1995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914400" lvl="1" indent="-3302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600"/>
              <a:buFont typeface="Proxima Nova"/>
              <a:buChar char="-"/>
            </a:pPr>
            <a:r>
              <a:rPr lang="en" sz="16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Illinois: 932</a:t>
            </a:r>
            <a:endParaRPr sz="1600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33" name="Google Shape;133;p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818200" y="37825"/>
            <a:ext cx="1960551" cy="1960551"/>
          </a:xfrm>
          <a:prstGeom prst="rect">
            <a:avLst/>
          </a:prstGeom>
          <a:noFill/>
          <a:ln>
            <a:noFill/>
          </a:ln>
        </p:spPr>
      </p:pic>
      <p:pic>
        <p:nvPicPr>
          <p:cNvPr id="134" name="Google Shape;134;p1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897700" y="1412900"/>
            <a:ext cx="2071701" cy="2071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35" name="Google Shape;135;p18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540350" y="2395275"/>
            <a:ext cx="3214725" cy="32147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9"/>
          <p:cNvSpPr/>
          <p:nvPr/>
        </p:nvSpPr>
        <p:spPr>
          <a:xfrm>
            <a:off x="0" y="5225"/>
            <a:ext cx="9144000" cy="542100"/>
          </a:xfrm>
          <a:prstGeom prst="rect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1155CC"/>
              </a:solidFill>
            </a:endParaRPr>
          </a:p>
        </p:txBody>
      </p:sp>
      <p:sp>
        <p:nvSpPr>
          <p:cNvPr id="141" name="Google Shape;141;p19"/>
          <p:cNvSpPr txBox="1">
            <a:spLocks noGrp="1"/>
          </p:cNvSpPr>
          <p:nvPr>
            <p:ph type="title"/>
          </p:nvPr>
        </p:nvSpPr>
        <p:spPr>
          <a:xfrm>
            <a:off x="38525" y="20525"/>
            <a:ext cx="8115000" cy="481800"/>
          </a:xfrm>
          <a:prstGeom prst="rect">
            <a:avLst/>
          </a:prstGeom>
          <a:solidFill>
            <a:srgbClr val="990000"/>
          </a:solidFill>
          <a:ln w="9525" cap="flat" cmpd="sng">
            <a:solidFill>
              <a:srgbClr val="99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b="1">
                <a:solidFill>
                  <a:srgbClr val="F1C232"/>
                </a:solidFill>
              </a:rPr>
              <a:t>Parallel Trends- DiD Model 1</a:t>
            </a:r>
            <a:endParaRPr sz="2400" b="1">
              <a:solidFill>
                <a:srgbClr val="F1C232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>
              <a:solidFill>
                <a:srgbClr val="F1C232"/>
              </a:solidFill>
            </a:endParaRPr>
          </a:p>
        </p:txBody>
      </p:sp>
      <p:sp>
        <p:nvSpPr>
          <p:cNvPr id="142" name="Google Shape;142;p19"/>
          <p:cNvSpPr txBox="1"/>
          <p:nvPr/>
        </p:nvSpPr>
        <p:spPr>
          <a:xfrm>
            <a:off x="829488" y="699725"/>
            <a:ext cx="7485000" cy="92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Parallel Trends in Illinois and Texas </a:t>
            </a:r>
            <a:r>
              <a:rPr lang="en" sz="1800" b="1" i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before </a:t>
            </a:r>
            <a:r>
              <a:rPr lang="en" sz="18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change in gun law</a:t>
            </a:r>
            <a:endParaRPr sz="1800"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43" name="Google Shape;143;p1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615549" y="1229925"/>
            <a:ext cx="5912902" cy="32346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4" name="Google Shape;144;p1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685900" y="4287350"/>
            <a:ext cx="833028" cy="83254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5" name="Google Shape;145;p19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305073" y="4263750"/>
            <a:ext cx="880251" cy="879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20"/>
          <p:cNvSpPr txBox="1"/>
          <p:nvPr/>
        </p:nvSpPr>
        <p:spPr>
          <a:xfrm>
            <a:off x="2525750" y="-36750"/>
            <a:ext cx="6618300" cy="5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Victim_Count =  β</a:t>
            </a:r>
            <a:r>
              <a:rPr lang="en" sz="2000" b="1" baseline="-250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0</a:t>
            </a: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+δ</a:t>
            </a:r>
            <a:r>
              <a:rPr lang="en" sz="2000" b="1" baseline="-250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0 </a:t>
            </a: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y20 + β</a:t>
            </a:r>
            <a:r>
              <a:rPr lang="en" sz="2000" b="1" baseline="-250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1</a:t>
            </a: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Texas + δ</a:t>
            </a:r>
            <a:r>
              <a:rPr lang="en" sz="2000" b="1" baseline="-25000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1</a:t>
            </a:r>
            <a:r>
              <a:rPr lang="en" sz="2000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y20*Texas +µ</a:t>
            </a:r>
            <a:endParaRPr sz="2000"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ctr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 sz="2000"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151" name="Google Shape;151;p20"/>
          <p:cNvSpPr/>
          <p:nvPr/>
        </p:nvSpPr>
        <p:spPr>
          <a:xfrm>
            <a:off x="0" y="-8400"/>
            <a:ext cx="2469300" cy="607800"/>
          </a:xfrm>
          <a:prstGeom prst="homePlate">
            <a:avLst>
              <a:gd name="adj" fmla="val 50000"/>
            </a:avLst>
          </a:prstGeom>
          <a:solidFill>
            <a:srgbClr val="990000"/>
          </a:solidFill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/>
          </a:p>
        </p:txBody>
      </p:sp>
      <p:sp>
        <p:nvSpPr>
          <p:cNvPr id="152" name="Google Shape;152;p20"/>
          <p:cNvSpPr txBox="1"/>
          <p:nvPr/>
        </p:nvSpPr>
        <p:spPr>
          <a:xfrm>
            <a:off x="42450" y="57750"/>
            <a:ext cx="2172000" cy="47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700" b="1">
                <a:solidFill>
                  <a:srgbClr val="F1C232"/>
                </a:solidFill>
                <a:latin typeface="Proxima Nova"/>
                <a:ea typeface="Proxima Nova"/>
                <a:cs typeface="Proxima Nova"/>
                <a:sym typeface="Proxima Nova"/>
              </a:rPr>
              <a:t>TX vs. IL Model</a:t>
            </a:r>
            <a:endParaRPr sz="1700" b="1">
              <a:solidFill>
                <a:srgbClr val="F1C232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153" name="Google Shape;153;p20"/>
          <p:cNvSpPr txBox="1"/>
          <p:nvPr/>
        </p:nvSpPr>
        <p:spPr>
          <a:xfrm>
            <a:off x="5931450" y="1331400"/>
            <a:ext cx="2469300" cy="248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u="sng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Control Group: Illinois</a:t>
            </a:r>
            <a:endParaRPr b="1" u="sng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-"/>
            </a:pPr>
            <a:r>
              <a:rPr lang="en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Before: 1.08</a:t>
            </a: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-"/>
            </a:pPr>
            <a:r>
              <a:rPr lang="en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After: 1.065</a:t>
            </a: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u="sng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Treatment Group: Texas</a:t>
            </a:r>
            <a:endParaRPr b="1" u="sng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-"/>
            </a:pPr>
            <a:r>
              <a:rPr lang="en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Before: 1.098</a:t>
            </a: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457200" lvl="0" indent="-317500" algn="l" rtl="0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ts val="1400"/>
              <a:buFont typeface="Proxima Nova"/>
              <a:buChar char="-"/>
            </a:pPr>
            <a:r>
              <a:rPr lang="en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After: 1.169</a:t>
            </a: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rgbClr val="990000"/>
                </a:solidFill>
                <a:latin typeface="Proxima Nova"/>
                <a:ea typeface="Proxima Nova"/>
                <a:cs typeface="Proxima Nova"/>
                <a:sym typeface="Proxima Nova"/>
              </a:rPr>
              <a:t>Legislation Change in 1995</a:t>
            </a:r>
            <a:endParaRPr b="1">
              <a:solidFill>
                <a:srgbClr val="99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54" name="Google Shape;154;p2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8650" y="1318450"/>
            <a:ext cx="5123225" cy="3185002"/>
          </a:xfrm>
          <a:prstGeom prst="rect">
            <a:avLst/>
          </a:prstGeom>
          <a:noFill/>
          <a:ln>
            <a:noFill/>
          </a:ln>
        </p:spPr>
      </p:pic>
      <p:pic>
        <p:nvPicPr>
          <p:cNvPr id="155" name="Google Shape;155;p2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685900" y="4287350"/>
            <a:ext cx="833028" cy="832548"/>
          </a:xfrm>
          <a:prstGeom prst="rect">
            <a:avLst/>
          </a:prstGeom>
          <a:noFill/>
          <a:ln>
            <a:noFill/>
          </a:ln>
        </p:spPr>
      </p:pic>
      <p:pic>
        <p:nvPicPr>
          <p:cNvPr id="156" name="Google Shape;156;p20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305073" y="4263750"/>
            <a:ext cx="880251" cy="879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pearmint">
  <a:themeElements>
    <a:clrScheme name="Spearmint">
      <a:dk1>
        <a:srgbClr val="202729"/>
      </a:dk1>
      <a:lt1>
        <a:srgbClr val="FFFFFF"/>
      </a:lt1>
      <a:dk2>
        <a:srgbClr val="4BA173"/>
      </a:dk2>
      <a:lt2>
        <a:srgbClr val="63D297"/>
      </a:lt2>
      <a:accent1>
        <a:srgbClr val="353744"/>
      </a:accent1>
      <a:accent2>
        <a:srgbClr val="424242"/>
      </a:accent2>
      <a:accent3>
        <a:srgbClr val="616161"/>
      </a:accent3>
      <a:accent4>
        <a:srgbClr val="999999"/>
      </a:accent4>
      <a:accent5>
        <a:srgbClr val="FF5252"/>
      </a:accent5>
      <a:accent6>
        <a:srgbClr val="FFF176"/>
      </a:accent6>
      <a:hlink>
        <a:srgbClr val="FF5252"/>
      </a:hlink>
      <a:folHlink>
        <a:srgbClr val="FF525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9</TotalTime>
  <Words>510</Words>
  <Application>Microsoft Office PowerPoint</Application>
  <PresentationFormat>On-screen Show (16:9)</PresentationFormat>
  <Paragraphs>91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Roboto</vt:lpstr>
      <vt:lpstr>Proxima Nova</vt:lpstr>
      <vt:lpstr>Roboto Thin</vt:lpstr>
      <vt:lpstr>Spearmint</vt:lpstr>
      <vt:lpstr>think-cell Slide</vt:lpstr>
      <vt:lpstr>PowerPoint Presentation</vt:lpstr>
      <vt:lpstr>PowerPoint Presentation</vt:lpstr>
      <vt:lpstr>Concealed Carry</vt:lpstr>
      <vt:lpstr>PowerPoint Presentation</vt:lpstr>
      <vt:lpstr>What effect does change in concealed carry legislation have on the number of victims seen due to gun violence?  </vt:lpstr>
      <vt:lpstr>PowerPoint Presentation</vt:lpstr>
      <vt:lpstr>PowerPoint Presentation</vt:lpstr>
      <vt:lpstr>Parallel Trends- DiD Model 1 </vt:lpstr>
      <vt:lpstr>PowerPoint Presentation</vt:lpstr>
      <vt:lpstr>PowerPoint Presentation</vt:lpstr>
      <vt:lpstr>Parallel Trends - DiD Model 2 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Gottipati, Amit Venkateswarlu</cp:lastModifiedBy>
  <cp:revision>11</cp:revision>
  <dcterms:modified xsi:type="dcterms:W3CDTF">2021-01-24T21:46:40Z</dcterms:modified>
</cp:coreProperties>
</file>